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1" r:id="rId2"/>
    <p:sldId id="262" r:id="rId3"/>
    <p:sldId id="264" r:id="rId4"/>
    <p:sldId id="267" r:id="rId5"/>
    <p:sldId id="268" r:id="rId6"/>
    <p:sldId id="271" r:id="rId7"/>
    <p:sldId id="272" r:id="rId8"/>
    <p:sldId id="273" r:id="rId9"/>
    <p:sldId id="274" r:id="rId10"/>
    <p:sldId id="275" r:id="rId11"/>
    <p:sldId id="276" r:id="rId12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абитуриенты и их родители (законные представители)</c:v>
                </c:pt>
                <c:pt idx="1">
                  <c:v>сотрудник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5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E-493A-BCE6-45737285130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абитуриенты и их родители (законные представители)</c:v>
                </c:pt>
                <c:pt idx="1">
                  <c:v>сотрудники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85</c:v>
                </c:pt>
                <c:pt idx="1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9E-493A-BCE6-457372851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3659024"/>
        <c:axId val="423659352"/>
        <c:axId val="426100272"/>
      </c:bar3DChart>
      <c:catAx>
        <c:axId val="423659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3659352"/>
        <c:crosses val="autoZero"/>
        <c:auto val="1"/>
        <c:lblAlgn val="ctr"/>
        <c:lblOffset val="100"/>
        <c:noMultiLvlLbl val="0"/>
      </c:catAx>
      <c:valAx>
        <c:axId val="423659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024"/>
        <c:crosses val="autoZero"/>
        <c:crossBetween val="between"/>
      </c:valAx>
      <c:serAx>
        <c:axId val="4261002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352"/>
        <c:crosses val="autoZero"/>
      </c:ser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087</cdr:x>
      <cdr:y>0.775</cdr:y>
    </cdr:from>
    <cdr:to>
      <cdr:x>0.22087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2048" y="3149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обучающиеся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3284</cdr:x>
      <cdr:y>0.775</cdr:y>
    </cdr:from>
    <cdr:to>
      <cdr:x>0.4784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001924" y="3149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Сотрудники БИК</a:t>
          </a:r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2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2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2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2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0.png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11" Type="http://schemas.openxmlformats.org/officeDocument/2006/relationships/image" Target="../media/image2.png"/><Relationship Id="rId5" Type="http://schemas.openxmlformats.org/officeDocument/2006/relationships/image" Target="../media/image12.emf"/><Relationship Id="rId10" Type="http://schemas.openxmlformats.org/officeDocument/2006/relationships/image" Target="../media/image2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223714"/>
          </a:xfrm>
        </p:spPr>
        <p:txBody>
          <a:bodyPr>
            <a:noAutofit/>
          </a:bodyPr>
          <a:lstStyle/>
          <a:p>
            <a:r>
              <a:rPr lang="ru-RU" sz="1600" b="1" dirty="0" smtClean="0"/>
              <a:t>Паспорт проекта  </a:t>
            </a:r>
            <a:r>
              <a:rPr lang="ru-RU" sz="1600" dirty="0"/>
              <a:t>«Оптимизация процесса сбора заявок на питания обучающихся бюджетных групп в ОГАПОУ «Белгородский индустриальный колледж»»</a:t>
            </a:r>
            <a:endParaRPr lang="ru-RU" sz="1600" dirty="0" smtClean="0"/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44475" y="1060694"/>
            <a:ext cx="8636000" cy="155869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2" y="2667775"/>
            <a:ext cx="8636000" cy="147364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4649" y="1091273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40506" y="4262345"/>
            <a:ext cx="8621713" cy="917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85720" y="4327431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21697" y="1060694"/>
            <a:ext cx="5121275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Наименование органа власти</a:t>
            </a:r>
            <a:r>
              <a:rPr lang="ru-RU" sz="1200" dirty="0" smtClean="0">
                <a:solidFill>
                  <a:srgbClr val="002060"/>
                </a:solidFill>
              </a:rPr>
              <a:t>: Департамент образования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Наименование </a:t>
            </a:r>
            <a:r>
              <a:rPr lang="ru-RU" sz="1200" dirty="0" smtClean="0">
                <a:solidFill>
                  <a:srgbClr val="002060"/>
                </a:solidFill>
              </a:rPr>
              <a:t>ПОО : ОГАПОУ «Белгородский индустриальный колледж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Адрес</a:t>
            </a:r>
            <a:r>
              <a:rPr lang="ru-RU" sz="1200" dirty="0">
                <a:solidFill>
                  <a:srgbClr val="002060"/>
                </a:solidFill>
              </a:rPr>
              <a:t>: </a:t>
            </a:r>
            <a:r>
              <a:rPr lang="ru-RU" sz="1200" dirty="0" smtClean="0">
                <a:solidFill>
                  <a:srgbClr val="002060"/>
                </a:solidFill>
              </a:rPr>
              <a:t>г. Белгород,  пр. </a:t>
            </a:r>
            <a:r>
              <a:rPr lang="ru-RU" sz="1200" dirty="0" err="1" smtClean="0">
                <a:solidFill>
                  <a:srgbClr val="002060"/>
                </a:solidFill>
              </a:rPr>
              <a:t>Б.Хмельницкого</a:t>
            </a:r>
            <a:r>
              <a:rPr lang="ru-RU" sz="1200" dirty="0" smtClean="0">
                <a:solidFill>
                  <a:srgbClr val="002060"/>
                </a:solidFill>
              </a:rPr>
              <a:t>, 80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</a:t>
            </a:r>
            <a:r>
              <a:rPr lang="ru-RU" sz="1200" dirty="0">
                <a:solidFill>
                  <a:srgbClr val="002060"/>
                </a:solidFill>
              </a:rPr>
              <a:t>от момента указания о начале формирования заявки на питание учебной группы  и до момента передачи общей </a:t>
            </a:r>
            <a:r>
              <a:rPr lang="ru-RU" sz="1200" dirty="0" smtClean="0">
                <a:solidFill>
                  <a:srgbClr val="002060"/>
                </a:solidFill>
              </a:rPr>
              <a:t>заявки  </a:t>
            </a:r>
            <a:r>
              <a:rPr lang="ru-RU" sz="1200" dirty="0">
                <a:solidFill>
                  <a:srgbClr val="002060"/>
                </a:solidFill>
              </a:rPr>
              <a:t>«Фабрике социального питания» 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начала  проекта</a:t>
            </a:r>
            <a:r>
              <a:rPr lang="ru-RU" sz="1200" dirty="0" smtClean="0">
                <a:solidFill>
                  <a:srgbClr val="002060"/>
                </a:solidFill>
              </a:rPr>
              <a:t>: 11.01.2021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</a:rPr>
              <a:t>: 31.05.2021</a:t>
            </a:r>
            <a:endParaRPr lang="ru-RU" sz="1200" dirty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23447" y="3020624"/>
            <a:ext cx="8315325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Процесс ежедневно повторяющийся в рабочие дни в течение учебного года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Количество участников процесса более 1200 человек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Количество обрабатываемых документов более 60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Нарушаются сроки подачи </a:t>
            </a:r>
            <a:r>
              <a:rPr lang="ru-RU" sz="1000" dirty="0" err="1">
                <a:solidFill>
                  <a:srgbClr val="002060"/>
                </a:solidFill>
              </a:rPr>
              <a:t>общеколледжной</a:t>
            </a:r>
            <a:r>
              <a:rPr lang="ru-RU" sz="1000" dirty="0">
                <a:solidFill>
                  <a:srgbClr val="002060"/>
                </a:solidFill>
              </a:rPr>
              <a:t> заявки на питание в «Фабрику социального питания» до 1,5 часов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Наличие ошибок, возврат документов на доработку до 5 раз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Необходимость повторного, дополнительного запроса документов до 4 раз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000" dirty="0">
                <a:solidFill>
                  <a:srgbClr val="002060"/>
                </a:solidFill>
              </a:rPr>
              <a:t>Наличие участников процесса  неудовлетворённых ходом сбора заявок на питание (67%).</a:t>
            </a:r>
            <a:endParaRPr lang="ru-RU" sz="1000" dirty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2062" y="4656344"/>
            <a:ext cx="8323263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2060"/>
                </a:solidFill>
              </a:rPr>
              <a:t>Сокращение времени протекания процесса  записи обучающихся бюджетных групп на комплексное питание в столовой колледжа на 87% к 31.05.2021 г.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25057" y="5271102"/>
            <a:ext cx="8621713" cy="14702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/>
            <a:endParaRPr lang="ru-RU" altLang="ru-RU" sz="1200" dirty="0" smtClean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lvl="0"/>
            <a:endParaRPr lang="ru-RU" altLang="ru-RU" sz="1200" dirty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lvl="0"/>
            <a:r>
              <a:rPr lang="ru-RU" altLang="ru-RU" sz="120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Сокращение </a:t>
            </a:r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временных потерь при формировании общей </a:t>
            </a:r>
            <a:r>
              <a:rPr lang="ru-RU" altLang="ru-RU" sz="1200" dirty="0" err="1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колледжной</a:t>
            </a:r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 заявки  на питание(на 87%)</a:t>
            </a:r>
          </a:p>
          <a:p>
            <a:pPr lvl="0"/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Повышение удовлетворённости работы обучающихся  и участников процесса  системой взаимодействия (95%)</a:t>
            </a:r>
          </a:p>
          <a:p>
            <a:pPr lvl="0"/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Увеличение количества заявок обучающихся на питание (чел/день).</a:t>
            </a:r>
          </a:p>
          <a:p>
            <a:pPr lvl="0"/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Экономия материальных ресурсов: офисная бумага 11200 листов (5750руб), закупка картриджей </a:t>
            </a:r>
            <a:r>
              <a:rPr lang="ru-RU" altLang="ru-RU" sz="120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принтера</a:t>
            </a:r>
          </a:p>
          <a:p>
            <a:pPr lvl="0"/>
            <a:r>
              <a:rPr lang="ru-RU" altLang="ru-RU" sz="1200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10 картриджей </a:t>
            </a:r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(6000 </a:t>
            </a:r>
            <a:r>
              <a:rPr lang="ru-RU" altLang="ru-RU" sz="1200" dirty="0" err="1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руб</a:t>
            </a:r>
            <a:r>
              <a:rPr lang="ru-RU" altLang="ru-RU" sz="1200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4649" y="5381924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pic>
        <p:nvPicPr>
          <p:cNvPr id="20" name="Picture 2" descr="https://avatars.mds.yandex.net/get-altay/1678797/2a00000168dfd95c6f8481b73e4b47f1d413/XXXL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7995" b="27005"/>
          <a:stretch/>
        </p:blipFill>
        <p:spPr bwMode="auto">
          <a:xfrm>
            <a:off x="7153575" y="1181769"/>
            <a:ext cx="1830884" cy="131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6" y="1521383"/>
            <a:ext cx="943232" cy="938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95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844515503"/>
              </p:ext>
            </p:extLst>
          </p:nvPr>
        </p:nvGraphicFramePr>
        <p:xfrm>
          <a:off x="1619672" y="16829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55576" y="620688"/>
            <a:ext cx="7560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довлетворенность процессом потребителей увеличилась с </a:t>
            </a:r>
            <a:r>
              <a:rPr lang="ru-RU" dirty="0" smtClean="0">
                <a:solidFill>
                  <a:srgbClr val="4F81BD"/>
                </a:solidFill>
                <a:latin typeface="Calibri"/>
              </a:rPr>
              <a:t>45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 </a:t>
            </a:r>
            <a:r>
              <a:rPr lang="ru-RU" dirty="0" smtClean="0">
                <a:solidFill>
                  <a:srgbClr val="4F81BD"/>
                </a:solidFill>
                <a:latin typeface="Calibri"/>
              </a:rPr>
              <a:t>95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625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3568" y="764704"/>
            <a:ext cx="81369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ономический эффект </a:t>
            </a:r>
            <a:b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эффект для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астников процесса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2813" y="2834539"/>
            <a:ext cx="875143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30 % сокращены затраты времени на подачу </a:t>
            </a: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вки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а пит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2,5 раза снизились трудозатраты сотрудник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шение удовлетворенности всех участников образовательного процесса в 3 раз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4122" y="4575705"/>
            <a:ext cx="1511755" cy="184770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62812" y="2351804"/>
            <a:ext cx="85016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вершенствование процесс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писи на питание                                                                 ЦИФРОВИЗАЦИЯ ПРОЦЕСС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8662" y="4581128"/>
            <a:ext cx="81369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altLang="ru-RU" sz="1600" b="1" dirty="0" smtClean="0">
              <a:solidFill>
                <a:srgbClr val="1F497D"/>
              </a:solidFill>
              <a:cs typeface="Times New Roman" panose="02020603050405020304" pitchFamily="18" charset="0"/>
            </a:endParaRPr>
          </a:p>
          <a:p>
            <a:pPr lvl="0"/>
            <a:r>
              <a:rPr lang="ru-RU" altLang="ru-RU" b="1" dirty="0" smtClean="0">
                <a:solidFill>
                  <a:schemeClr val="accent3"/>
                </a:solidFill>
                <a:cs typeface="Times New Roman" panose="02020603050405020304" pitchFamily="18" charset="0"/>
              </a:rPr>
              <a:t>Экономия 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материальных </a:t>
            </a:r>
            <a:r>
              <a:rPr lang="ru-RU" altLang="ru-RU" b="1" dirty="0" smtClean="0">
                <a:solidFill>
                  <a:schemeClr val="accent3"/>
                </a:solidFill>
                <a:cs typeface="Times New Roman" panose="02020603050405020304" pitchFamily="18" charset="0"/>
              </a:rPr>
              <a:t>ресурсов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: </a:t>
            </a:r>
            <a:endParaRPr lang="ru-RU" altLang="ru-RU" b="1" dirty="0" smtClean="0">
              <a:solidFill>
                <a:schemeClr val="accent3"/>
              </a:solidFill>
              <a:cs typeface="Times New Roman" panose="02020603050405020304" pitchFamily="18" charset="0"/>
            </a:endParaRPr>
          </a:p>
          <a:p>
            <a:pPr lvl="0"/>
            <a:r>
              <a:rPr lang="ru-RU" altLang="ru-RU" b="1" dirty="0" smtClean="0">
                <a:solidFill>
                  <a:schemeClr val="accent3"/>
                </a:solidFill>
                <a:cs typeface="Times New Roman" panose="02020603050405020304" pitchFamily="18" charset="0"/>
              </a:rPr>
              <a:t>офисная 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бумага 11200 листов (5750руб), </a:t>
            </a:r>
            <a:endParaRPr lang="ru-RU" altLang="ru-RU" b="1" dirty="0" smtClean="0">
              <a:solidFill>
                <a:schemeClr val="accent3"/>
              </a:solidFill>
              <a:cs typeface="Times New Roman" panose="02020603050405020304" pitchFamily="18" charset="0"/>
            </a:endParaRPr>
          </a:p>
          <a:p>
            <a:pPr lvl="0"/>
            <a:r>
              <a:rPr lang="ru-RU" altLang="ru-RU" b="1" dirty="0" smtClean="0">
                <a:solidFill>
                  <a:schemeClr val="accent3"/>
                </a:solidFill>
                <a:cs typeface="Times New Roman" panose="02020603050405020304" pitchFamily="18" charset="0"/>
              </a:rPr>
              <a:t>закупка 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картриджей </a:t>
            </a:r>
            <a:r>
              <a:rPr lang="ru-RU" altLang="ru-RU" b="1" dirty="0" smtClean="0">
                <a:solidFill>
                  <a:schemeClr val="accent3"/>
                </a:solidFill>
                <a:cs typeface="Times New Roman" panose="02020603050405020304" pitchFamily="18" charset="0"/>
              </a:rPr>
              <a:t>принтера 10 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картриджей (6000 </a:t>
            </a:r>
            <a:r>
              <a:rPr lang="ru-RU" altLang="ru-RU" b="1" dirty="0" err="1">
                <a:solidFill>
                  <a:schemeClr val="accent3"/>
                </a:solidFill>
                <a:cs typeface="Times New Roman" panose="02020603050405020304" pitchFamily="18" charset="0"/>
              </a:rPr>
              <a:t>руб</a:t>
            </a:r>
            <a:r>
              <a:rPr lang="ru-RU" altLang="ru-RU" b="1" dirty="0">
                <a:solidFill>
                  <a:schemeClr val="accent3"/>
                </a:solidFill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5" name="Стрелка вправо с вырезом 4"/>
          <p:cNvSpPr/>
          <p:nvPr/>
        </p:nvSpPr>
        <p:spPr>
          <a:xfrm>
            <a:off x="4565350" y="2625631"/>
            <a:ext cx="546360" cy="235893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693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98946" y="3577878"/>
            <a:ext cx="8621712" cy="301947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91008" y="1281285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051720" y="3023198"/>
            <a:ext cx="2886645" cy="430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 fontAlgn="base"/>
            <a:r>
              <a:rPr lang="ru-RU" altLang="ru-RU" sz="12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повалова</a:t>
            </a:r>
            <a:r>
              <a:rPr lang="ru-RU" alt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Л.Т</a:t>
            </a:r>
            <a:r>
              <a:rPr lang="ru-RU" alt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lvl="0" algn="ctr" defTabSz="914400" fontAlgn="base"/>
            <a:r>
              <a:rPr lang="ru-RU" altLang="ru-RU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</a:t>
            </a:r>
            <a:r>
              <a:rPr lang="ru-RU" altLang="ru-RU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профессионального образования департамента образования области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673447" y="131905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4949990" y="3051352"/>
            <a:ext cx="1998274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талов О.А</a:t>
            </a:r>
            <a:r>
              <a:rPr lang="ru-RU" altLang="ru-RU" sz="12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2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ОГАПОУ «БИК</a:t>
            </a: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690343" y="1347477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7500" y="1940639"/>
            <a:ext cx="1409998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algn="ctr"/>
            <a:r>
              <a:rPr lang="ru-RU" dirty="0" smtClean="0"/>
              <a:t>Логотип организации</a:t>
            </a:r>
          </a:p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75144" y="1535479"/>
            <a:ext cx="1251311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364087" y="1567656"/>
            <a:ext cx="1184175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315913" y="5579368"/>
            <a:ext cx="1462088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рмолова Ольга Ивановна</a:t>
            </a:r>
            <a:endParaRPr lang="ru-RU" sz="1200" dirty="0"/>
          </a:p>
          <a:p>
            <a:pPr algn="ctr" fontAlgn="base"/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директора по учебно-воспитательной работе</a:t>
            </a:r>
            <a:endParaRPr lang="ru-RU" sz="12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1900089" y="5579368"/>
            <a:ext cx="1462088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b="1" dirty="0" smtClean="0">
                <a:solidFill>
                  <a:srgbClr val="1C1C1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веенко </a:t>
            </a:r>
            <a:r>
              <a:rPr lang="ru-RU" sz="1000" b="1" dirty="0">
                <a:solidFill>
                  <a:srgbClr val="1C1C1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ннадий Александрович</a:t>
            </a:r>
            <a:endParaRPr lang="ru-RU" sz="1200" dirty="0"/>
          </a:p>
          <a:p>
            <a:pPr algn="ctr" fontAlgn="base"/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директора по информационным 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ологиям</a:t>
            </a:r>
            <a:endParaRPr lang="ru-RU" sz="12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051720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480691" y="5645316"/>
            <a:ext cx="1462088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b="1" dirty="0" smtClean="0">
                <a:solidFill>
                  <a:srgbClr val="1C1C1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тьяк </a:t>
            </a:r>
            <a:r>
              <a:rPr lang="ru-RU" sz="1000" b="1" dirty="0">
                <a:solidFill>
                  <a:srgbClr val="1C1C1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ина Юрьевна</a:t>
            </a:r>
            <a:endParaRPr lang="ru-RU" sz="1200" dirty="0"/>
          </a:p>
          <a:p>
            <a:pPr algn="ctr" fontAlgn="base"/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 ОГАПОУ «БИК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613968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070586" y="5641569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ctr"/>
            <a:r>
              <a:rPr lang="ru-RU" sz="10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тков Илья</a:t>
            </a:r>
            <a:endParaRPr lang="ru-RU" sz="1200" dirty="0"/>
          </a:p>
          <a:p>
            <a:pPr algn="ctr" fontAlgn="base"/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йся ОГАПОУ «БИК»</a:t>
            </a:r>
            <a:endParaRPr lang="ru-RU" sz="12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51981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49" y="2015403"/>
            <a:ext cx="1254500" cy="12545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5184" y="1554779"/>
            <a:ext cx="1181979" cy="147747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/>
          <a:srcRect l="15442" t="326" r="324" b="-326"/>
          <a:stretch/>
        </p:blipFill>
        <p:spPr>
          <a:xfrm>
            <a:off x="2811636" y="1580474"/>
            <a:ext cx="1178328" cy="139888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/>
          <a:srcRect l="12842" r="36964"/>
          <a:stretch/>
        </p:blipFill>
        <p:spPr>
          <a:xfrm>
            <a:off x="485727" y="4102855"/>
            <a:ext cx="1080120" cy="14400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/>
          <a:srcRect l="19142" r="37093"/>
          <a:stretch/>
        </p:blipFill>
        <p:spPr>
          <a:xfrm>
            <a:off x="2011206" y="4098406"/>
            <a:ext cx="1120634" cy="143878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39926" t="-5272" r="26684" b="35260"/>
          <a:stretch/>
        </p:blipFill>
        <p:spPr>
          <a:xfrm>
            <a:off x="3622095" y="4009523"/>
            <a:ext cx="1080120" cy="1512000"/>
          </a:xfrm>
          <a:prstGeom prst="rect">
            <a:avLst/>
          </a:prstGeom>
        </p:spPr>
      </p:pic>
      <p:pic>
        <p:nvPicPr>
          <p:cNvPr id="7174" name="Picture 6" descr="https://i.ytimg.com/vi/xeifQ6U8Ydg/maxresdefault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24" r="32084"/>
          <a:stretch/>
        </p:blipFill>
        <p:spPr bwMode="auto">
          <a:xfrm>
            <a:off x="5206271" y="4081523"/>
            <a:ext cx="108012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 227"/>
          <p:cNvSpPr/>
          <p:nvPr/>
        </p:nvSpPr>
        <p:spPr>
          <a:xfrm>
            <a:off x="268288" y="1508125"/>
            <a:ext cx="1366837" cy="16351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Rectangle 227"/>
          <p:cNvSpPr/>
          <p:nvPr/>
        </p:nvSpPr>
        <p:spPr>
          <a:xfrm>
            <a:off x="7072313" y="1538288"/>
            <a:ext cx="1346200" cy="159543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474" y="463773"/>
            <a:ext cx="8792021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Запись 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бучающихся бюджетных групп на комплексное питание в столовой колледжа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326063" y="3438525"/>
            <a:ext cx="3092450" cy="2369218"/>
          </a:xfrm>
          <a:prstGeom prst="rect">
            <a:avLst/>
          </a:prstGeom>
          <a:noFill/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tangle 41"/>
          <p:cNvSpPr txBox="1"/>
          <p:nvPr/>
        </p:nvSpPr>
        <p:spPr>
          <a:xfrm>
            <a:off x="5388584" y="5919113"/>
            <a:ext cx="4145124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ИТОГО - ВПП</a:t>
            </a:r>
            <a:r>
              <a:rPr lang="en-US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 smtClean="0">
                <a:solidFill>
                  <a:srgbClr val="000000"/>
                </a:solidFill>
              </a:rPr>
              <a:t>от 120 минут до 57 минут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0" name="Rectangle 170"/>
          <p:cNvSpPr/>
          <p:nvPr/>
        </p:nvSpPr>
        <p:spPr>
          <a:xfrm>
            <a:off x="261938" y="3486150"/>
            <a:ext cx="1346200" cy="17732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88"/>
          <p:cNvSpPr/>
          <p:nvPr/>
        </p:nvSpPr>
        <p:spPr>
          <a:xfrm>
            <a:off x="250825" y="4203700"/>
            <a:ext cx="1346200" cy="1055688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Суммирует данные всех учебных групп отделения и передает </a:t>
            </a:r>
            <a:r>
              <a:rPr lang="ru-RU" sz="1020" kern="0" dirty="0" err="1" smtClean="0">
                <a:solidFill>
                  <a:srgbClr val="000000"/>
                </a:solidFill>
                <a:latin typeface="Arial"/>
              </a:rPr>
              <a:t>зав.столовой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41"/>
          <p:cNvSpPr txBox="1">
            <a:spLocks/>
          </p:cNvSpPr>
          <p:nvPr/>
        </p:nvSpPr>
        <p:spPr>
          <a:xfrm>
            <a:off x="265113" y="3473450"/>
            <a:ext cx="1344612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этап – 5-10 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223"/>
          <p:cNvSpPr/>
          <p:nvPr/>
        </p:nvSpPr>
        <p:spPr>
          <a:xfrm>
            <a:off x="268288" y="2335213"/>
            <a:ext cx="1366837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Дает указание о формировании заявки на питание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41"/>
          <p:cNvSpPr txBox="1">
            <a:spLocks/>
          </p:cNvSpPr>
          <p:nvPr/>
        </p:nvSpPr>
        <p:spPr>
          <a:xfrm>
            <a:off x="268288" y="1501775"/>
            <a:ext cx="1363662" cy="36988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>
                <a:solidFill>
                  <a:srgbClr val="000000"/>
                </a:solidFill>
              </a:rPr>
              <a:t>Вход 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процесса – </a:t>
            </a:r>
            <a:r>
              <a:rPr lang="ru-RU" sz="1020" b="1" i="1" kern="0" dirty="0">
                <a:solidFill>
                  <a:srgbClr val="000000"/>
                </a:solidFill>
              </a:rPr>
              <a:t>1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227"/>
          <p:cNvSpPr/>
          <p:nvPr/>
        </p:nvSpPr>
        <p:spPr>
          <a:xfrm>
            <a:off x="1919288" y="1522413"/>
            <a:ext cx="1366837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63"/>
          <p:cNvSpPr txBox="1"/>
          <p:nvPr/>
        </p:nvSpPr>
        <p:spPr>
          <a:xfrm>
            <a:off x="1993900" y="1958858"/>
            <a:ext cx="1239837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отделением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9" name="Rectangle 229"/>
          <p:cNvSpPr/>
          <p:nvPr/>
        </p:nvSpPr>
        <p:spPr>
          <a:xfrm>
            <a:off x="1912938" y="2335213"/>
            <a:ext cx="1363662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Дает </a:t>
            </a: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указание куратору </a:t>
            </a:r>
            <a:r>
              <a:rPr lang="ru-RU" sz="1020" kern="0" dirty="0">
                <a:solidFill>
                  <a:srgbClr val="000000"/>
                </a:solidFill>
                <a:latin typeface="Arial"/>
              </a:rPr>
              <a:t>о формировании заявки на питание</a:t>
            </a:r>
          </a:p>
          <a:p>
            <a:pPr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ight Arrow 230"/>
          <p:cNvSpPr>
            <a:spLocks/>
          </p:cNvSpPr>
          <p:nvPr/>
        </p:nvSpPr>
        <p:spPr>
          <a:xfrm>
            <a:off x="3352800" y="27511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1912938" y="1509713"/>
            <a:ext cx="1373187" cy="35083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020" b="1" kern="0" dirty="0">
                <a:solidFill>
                  <a:srgbClr val="000000"/>
                </a:solidFill>
              </a:rPr>
              <a:t>1 </a:t>
            </a:r>
            <a:r>
              <a:rPr lang="ru-RU" sz="1020" b="1" kern="0" dirty="0">
                <a:solidFill>
                  <a:srgbClr val="000000"/>
                </a:solidFill>
              </a:rPr>
              <a:t>этап – </a:t>
            </a:r>
            <a:r>
              <a:rPr lang="ru-RU" sz="1020" b="1" kern="0" dirty="0" smtClean="0">
                <a:solidFill>
                  <a:srgbClr val="000000"/>
                </a:solidFill>
              </a:rPr>
              <a:t>25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 232"/>
          <p:cNvSpPr/>
          <p:nvPr/>
        </p:nvSpPr>
        <p:spPr>
          <a:xfrm>
            <a:off x="3617913" y="1541463"/>
            <a:ext cx="1344612" cy="156686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63"/>
          <p:cNvSpPr txBox="1"/>
          <p:nvPr/>
        </p:nvSpPr>
        <p:spPr>
          <a:xfrm>
            <a:off x="3695701" y="1935163"/>
            <a:ext cx="12620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Классный руководитель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4" name="Rectangle 234"/>
          <p:cNvSpPr/>
          <p:nvPr/>
        </p:nvSpPr>
        <p:spPr>
          <a:xfrm>
            <a:off x="3622675" y="2335213"/>
            <a:ext cx="1335088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lvl="0"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Дает указание </a:t>
            </a: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старосте </a:t>
            </a:r>
            <a:r>
              <a:rPr lang="ru-RU" sz="1020" kern="0" dirty="0">
                <a:solidFill>
                  <a:srgbClr val="000000"/>
                </a:solidFill>
                <a:latin typeface="Arial"/>
              </a:rPr>
              <a:t>о формировании заявки на питание</a:t>
            </a:r>
          </a:p>
        </p:txBody>
      </p:sp>
      <p:sp>
        <p:nvSpPr>
          <p:cNvPr id="25" name="Right Arrow 235"/>
          <p:cNvSpPr>
            <a:spLocks/>
          </p:cNvSpPr>
          <p:nvPr/>
        </p:nvSpPr>
        <p:spPr>
          <a:xfrm>
            <a:off x="5010150" y="2751138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41"/>
          <p:cNvSpPr txBox="1">
            <a:spLocks/>
          </p:cNvSpPr>
          <p:nvPr/>
        </p:nvSpPr>
        <p:spPr>
          <a:xfrm>
            <a:off x="3622675" y="1506538"/>
            <a:ext cx="1339850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2 этап – </a:t>
            </a:r>
            <a:r>
              <a:rPr lang="ru-RU" sz="1020" b="1" kern="0" dirty="0" smtClean="0">
                <a:solidFill>
                  <a:srgbClr val="000000"/>
                </a:solidFill>
              </a:rPr>
              <a:t>2-5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7" name="Rectangle 237"/>
          <p:cNvSpPr/>
          <p:nvPr/>
        </p:nvSpPr>
        <p:spPr>
          <a:xfrm>
            <a:off x="5330825" y="1552575"/>
            <a:ext cx="13827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tangle 63"/>
          <p:cNvSpPr txBox="1"/>
          <p:nvPr/>
        </p:nvSpPr>
        <p:spPr>
          <a:xfrm>
            <a:off x="5480050" y="1935163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тароста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9" name="Rectangle 239"/>
          <p:cNvSpPr/>
          <p:nvPr/>
        </p:nvSpPr>
        <p:spPr>
          <a:xfrm>
            <a:off x="5349875" y="2335213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Проводит опрос в учебной группе, заполные форму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ight Arrow 240"/>
          <p:cNvSpPr>
            <a:spLocks/>
          </p:cNvSpPr>
          <p:nvPr/>
        </p:nvSpPr>
        <p:spPr>
          <a:xfrm>
            <a:off x="6778625" y="27384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330825" y="1514475"/>
            <a:ext cx="1382713" cy="36195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3 этап– </a:t>
            </a:r>
            <a:r>
              <a:rPr lang="ru-RU" sz="1020" b="1" kern="0" dirty="0" smtClean="0">
                <a:solidFill>
                  <a:srgbClr val="000000"/>
                </a:solidFill>
              </a:rPr>
              <a:t>55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grpSp>
        <p:nvGrpSpPr>
          <p:cNvPr id="101405" name="Group 251"/>
          <p:cNvGrpSpPr>
            <a:grpSpLocks/>
          </p:cNvGrpSpPr>
          <p:nvPr/>
        </p:nvGrpSpPr>
        <p:grpSpPr bwMode="auto">
          <a:xfrm>
            <a:off x="1919288" y="3473450"/>
            <a:ext cx="1346200" cy="1782763"/>
            <a:chOff x="3450775" y="4138457"/>
            <a:chExt cx="1318591" cy="1995232"/>
          </a:xfrm>
        </p:grpSpPr>
        <p:sp>
          <p:nvSpPr>
            <p:cNvPr id="33" name="Rectangle 252"/>
            <p:cNvSpPr/>
            <p:nvPr/>
          </p:nvSpPr>
          <p:spPr>
            <a:xfrm>
              <a:off x="3450775" y="4138457"/>
              <a:ext cx="1318591" cy="191350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253"/>
            <p:cNvSpPr/>
            <p:nvPr/>
          </p:nvSpPr>
          <p:spPr>
            <a:xfrm>
              <a:off x="3464769" y="4952185"/>
              <a:ext cx="1304597" cy="1181504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Суммирует данные всех отделений и заполняет заявку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41"/>
            <p:cNvSpPr txBox="1">
              <a:spLocks/>
            </p:cNvSpPr>
            <p:nvPr/>
          </p:nvSpPr>
          <p:spPr>
            <a:xfrm>
              <a:off x="3450775" y="4138457"/>
              <a:ext cx="1318591" cy="412194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kern="0" dirty="0" smtClean="0">
                  <a:solidFill>
                    <a:srgbClr val="000000"/>
                  </a:solidFill>
                </a:rPr>
                <a:t>6 этап – 5-7 мин</a:t>
              </a:r>
              <a:endParaRPr lang="ru-RU" sz="102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63"/>
            <p:cNvSpPr txBox="1"/>
            <p:nvPr/>
          </p:nvSpPr>
          <p:spPr>
            <a:xfrm>
              <a:off x="3544072" y="4564864"/>
              <a:ext cx="1217519" cy="1756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4400">
                <a:buClr>
                  <a:srgbClr val="002960"/>
                </a:buClr>
                <a:defRPr/>
              </a:pPr>
              <a:r>
                <a:rPr lang="ru-RU" sz="1020" i="1" kern="0" dirty="0" err="1" smtClean="0">
                  <a:solidFill>
                    <a:srgbClr val="000000"/>
                  </a:solidFill>
                </a:rPr>
                <a:t>Зав.столовой</a:t>
              </a:r>
              <a:endParaRPr lang="ru-RU" sz="1020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37" name="Шестиугольник 96"/>
          <p:cNvSpPr>
            <a:spLocks/>
          </p:cNvSpPr>
          <p:nvPr/>
        </p:nvSpPr>
        <p:spPr>
          <a:xfrm>
            <a:off x="2347913" y="3197225"/>
            <a:ext cx="423862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38" name="Шестиугольник 96"/>
          <p:cNvSpPr>
            <a:spLocks/>
          </p:cNvSpPr>
          <p:nvPr/>
        </p:nvSpPr>
        <p:spPr>
          <a:xfrm>
            <a:off x="4054475" y="3197225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39" name="Right Arrow 260"/>
          <p:cNvSpPr>
            <a:spLocks/>
          </p:cNvSpPr>
          <p:nvPr/>
        </p:nvSpPr>
        <p:spPr>
          <a:xfrm>
            <a:off x="8485188" y="2752725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ight Arrow 264"/>
          <p:cNvSpPr>
            <a:spLocks/>
          </p:cNvSpPr>
          <p:nvPr/>
        </p:nvSpPr>
        <p:spPr>
          <a:xfrm>
            <a:off x="1644650" y="4797425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Шестиугольник 96"/>
          <p:cNvSpPr>
            <a:spLocks/>
          </p:cNvSpPr>
          <p:nvPr/>
        </p:nvSpPr>
        <p:spPr>
          <a:xfrm>
            <a:off x="7115175" y="3197225"/>
            <a:ext cx="425450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45" name="Right Arrow 225"/>
          <p:cNvSpPr>
            <a:spLocks/>
          </p:cNvSpPr>
          <p:nvPr/>
        </p:nvSpPr>
        <p:spPr>
          <a:xfrm>
            <a:off x="1636713" y="2782888"/>
            <a:ext cx="268287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13" name="Group 251"/>
          <p:cNvGrpSpPr>
            <a:grpSpLocks/>
          </p:cNvGrpSpPr>
          <p:nvPr/>
        </p:nvGrpSpPr>
        <p:grpSpPr bwMode="auto">
          <a:xfrm>
            <a:off x="3594101" y="3467100"/>
            <a:ext cx="1553964" cy="1800225"/>
            <a:chOff x="3450775" y="4138457"/>
            <a:chExt cx="1523889" cy="1913753"/>
          </a:xfrm>
        </p:grpSpPr>
        <p:sp>
          <p:nvSpPr>
            <p:cNvPr id="48" name="Rectangle 252"/>
            <p:cNvSpPr/>
            <p:nvPr/>
          </p:nvSpPr>
          <p:spPr>
            <a:xfrm>
              <a:off x="3450775" y="4138457"/>
              <a:ext cx="1523889" cy="191375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Rectangle 253"/>
            <p:cNvSpPr/>
            <p:nvPr/>
          </p:nvSpPr>
          <p:spPr>
            <a:xfrm>
              <a:off x="3450775" y="4904633"/>
              <a:ext cx="1523889" cy="1147577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Передает общую заявку о количестве питающихся «</a:t>
              </a:r>
              <a:r>
                <a:rPr lang="ru-RU" sz="1020" kern="0" dirty="0">
                  <a:solidFill>
                    <a:srgbClr val="000000"/>
                  </a:solidFill>
                  <a:latin typeface="Arial"/>
                </a:rPr>
                <a:t>Фабрике социального питания» </a:t>
              </a:r>
            </a:p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 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1"/>
            <p:cNvSpPr txBox="1">
              <a:spLocks/>
            </p:cNvSpPr>
            <p:nvPr/>
          </p:nvSpPr>
          <p:spPr>
            <a:xfrm>
              <a:off x="3450775" y="4138457"/>
              <a:ext cx="1523889" cy="374650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i="1" kern="0" dirty="0" smtClean="0">
                  <a:solidFill>
                    <a:srgbClr val="000000"/>
                  </a:solidFill>
                </a:rPr>
                <a:t>7 этап –2- 5 мин</a:t>
              </a:r>
              <a:endParaRPr lang="ru-RU" sz="1020" b="1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51" name="Right Arrow 264"/>
          <p:cNvSpPr>
            <a:spLocks/>
          </p:cNvSpPr>
          <p:nvPr/>
        </p:nvSpPr>
        <p:spPr>
          <a:xfrm>
            <a:off x="3321050" y="4787900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Rectangle 63"/>
          <p:cNvSpPr txBox="1"/>
          <p:nvPr/>
        </p:nvSpPr>
        <p:spPr>
          <a:xfrm>
            <a:off x="5472113" y="3560763"/>
            <a:ext cx="113665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24" b="1" kern="0" dirty="0">
                <a:solidFill>
                  <a:srgbClr val="000000"/>
                </a:solidFill>
              </a:rPr>
              <a:t>ПРОБЛЕМЫ</a:t>
            </a:r>
          </a:p>
        </p:txBody>
      </p:sp>
      <p:sp>
        <p:nvSpPr>
          <p:cNvPr id="56" name="Шестиугольник 96"/>
          <p:cNvSpPr>
            <a:spLocks/>
          </p:cNvSpPr>
          <p:nvPr/>
        </p:nvSpPr>
        <p:spPr>
          <a:xfrm>
            <a:off x="5797550" y="3190875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grpSp>
        <p:nvGrpSpPr>
          <p:cNvPr id="101420" name="Group 115"/>
          <p:cNvGrpSpPr>
            <a:grpSpLocks/>
          </p:cNvGrpSpPr>
          <p:nvPr/>
        </p:nvGrpSpPr>
        <p:grpSpPr bwMode="auto">
          <a:xfrm>
            <a:off x="2443163" y="6169025"/>
            <a:ext cx="1539875" cy="288925"/>
            <a:chOff x="4675188" y="959601"/>
            <a:chExt cx="1509822" cy="282513"/>
          </a:xfrm>
        </p:grpSpPr>
        <p:sp>
          <p:nvSpPr>
            <p:cNvPr id="58" name="Шестиугольник 96"/>
            <p:cNvSpPr>
              <a:spLocks/>
            </p:cNvSpPr>
            <p:nvPr/>
          </p:nvSpPr>
          <p:spPr>
            <a:xfrm>
              <a:off x="4675188" y="998408"/>
              <a:ext cx="415590" cy="189377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Arial"/>
                </a:rPr>
                <a:t>Нет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170161" y="959601"/>
              <a:ext cx="1014849" cy="28251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не регламентирован</a:t>
              </a:r>
            </a:p>
          </p:txBody>
        </p:sp>
      </p:grpSp>
      <p:grpSp>
        <p:nvGrpSpPr>
          <p:cNvPr id="101421" name="Group 118"/>
          <p:cNvGrpSpPr>
            <a:grpSpLocks/>
          </p:cNvGrpSpPr>
          <p:nvPr/>
        </p:nvGrpSpPr>
        <p:grpSpPr bwMode="auto">
          <a:xfrm>
            <a:off x="4583113" y="6196013"/>
            <a:ext cx="1622425" cy="193675"/>
            <a:chOff x="6491739" y="997790"/>
            <a:chExt cx="1590637" cy="189716"/>
          </a:xfrm>
        </p:grpSpPr>
        <p:sp>
          <p:nvSpPr>
            <p:cNvPr id="61" name="Шестиугольник 98"/>
            <p:cNvSpPr>
              <a:spLocks/>
            </p:cNvSpPr>
            <p:nvPr/>
          </p:nvSpPr>
          <p:spPr>
            <a:xfrm>
              <a:off x="6491739" y="997790"/>
              <a:ext cx="415557" cy="189716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BFBFBF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ru-RU" sz="918" kern="0" dirty="0">
                <a:solidFill>
                  <a:srgbClr val="414142"/>
                </a:solidFill>
                <a:latin typeface="Arial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935311" y="1022671"/>
              <a:ext cx="1147065" cy="14150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по регламенту</a:t>
              </a:r>
            </a:p>
          </p:txBody>
        </p:sp>
      </p:grp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57425" y="111760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76" name="10-конечная звезда 75"/>
          <p:cNvSpPr/>
          <p:nvPr>
            <p:custDataLst>
              <p:tags r:id="rId1"/>
            </p:custDataLst>
          </p:nvPr>
        </p:nvSpPr>
        <p:spPr>
          <a:xfrm>
            <a:off x="690563" y="3165475"/>
            <a:ext cx="409575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10-конечная звезда 76"/>
          <p:cNvSpPr/>
          <p:nvPr>
            <p:custDataLst>
              <p:tags r:id="rId2"/>
            </p:custDataLst>
          </p:nvPr>
        </p:nvSpPr>
        <p:spPr>
          <a:xfrm>
            <a:off x="2867025" y="3181351"/>
            <a:ext cx="409575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2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10-конечная звезда 78"/>
          <p:cNvSpPr/>
          <p:nvPr>
            <p:custDataLst>
              <p:tags r:id="rId3"/>
            </p:custDataLst>
          </p:nvPr>
        </p:nvSpPr>
        <p:spPr>
          <a:xfrm>
            <a:off x="935038" y="5303044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6</a:t>
            </a:r>
          </a:p>
        </p:txBody>
      </p:sp>
      <p:sp>
        <p:nvSpPr>
          <p:cNvPr id="80" name="10-конечная звезда 79"/>
          <p:cNvSpPr/>
          <p:nvPr>
            <p:custDataLst>
              <p:tags r:id="rId4"/>
            </p:custDataLst>
          </p:nvPr>
        </p:nvSpPr>
        <p:spPr>
          <a:xfrm>
            <a:off x="4638896" y="3133725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3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10-конечная звезда 80"/>
          <p:cNvSpPr/>
          <p:nvPr>
            <p:custDataLst>
              <p:tags r:id="rId5"/>
            </p:custDataLst>
          </p:nvPr>
        </p:nvSpPr>
        <p:spPr>
          <a:xfrm>
            <a:off x="6242051" y="3136901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82" name="10-конечная звезда 81"/>
          <p:cNvSpPr/>
          <p:nvPr>
            <p:custDataLst>
              <p:tags r:id="rId6"/>
            </p:custDataLst>
          </p:nvPr>
        </p:nvSpPr>
        <p:spPr>
          <a:xfrm>
            <a:off x="5362575" y="3860800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10-конечная звезда 82"/>
          <p:cNvSpPr/>
          <p:nvPr>
            <p:custDataLst>
              <p:tags r:id="rId7"/>
            </p:custDataLst>
          </p:nvPr>
        </p:nvSpPr>
        <p:spPr>
          <a:xfrm>
            <a:off x="5373688" y="4138613"/>
            <a:ext cx="431800" cy="246062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2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10-конечная звезда 83"/>
          <p:cNvSpPr/>
          <p:nvPr>
            <p:custDataLst>
              <p:tags r:id="rId8"/>
            </p:custDataLst>
          </p:nvPr>
        </p:nvSpPr>
        <p:spPr>
          <a:xfrm>
            <a:off x="5373688" y="4403725"/>
            <a:ext cx="431800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3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 flipV="1">
            <a:off x="190500" y="6080125"/>
            <a:ext cx="8777288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87" name="Rectangle 63"/>
          <p:cNvSpPr txBox="1"/>
          <p:nvPr/>
        </p:nvSpPr>
        <p:spPr>
          <a:xfrm>
            <a:off x="334962" y="3853256"/>
            <a:ext cx="12874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отделением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8" name="Rectangle 239"/>
          <p:cNvSpPr/>
          <p:nvPr/>
        </p:nvSpPr>
        <p:spPr>
          <a:xfrm>
            <a:off x="7072313" y="2319338"/>
            <a:ext cx="1346200" cy="81280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передает данные </a:t>
            </a:r>
            <a:r>
              <a:rPr lang="ru-RU" sz="1020" kern="0" dirty="0" err="1">
                <a:solidFill>
                  <a:srgbClr val="000000"/>
                </a:solidFill>
                <a:latin typeface="Arial"/>
              </a:rPr>
              <a:t>зав.отделением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  <a:p>
            <a:pPr defTabSz="453523">
              <a:spcAft>
                <a:spcPts val="0"/>
              </a:spcAft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41"/>
          <p:cNvSpPr txBox="1">
            <a:spLocks/>
          </p:cNvSpPr>
          <p:nvPr/>
        </p:nvSpPr>
        <p:spPr>
          <a:xfrm>
            <a:off x="7072313" y="1527175"/>
            <a:ext cx="1346200" cy="334963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4 </a:t>
            </a:r>
            <a:r>
              <a:rPr lang="ru-RU" sz="1020" b="1" kern="0" dirty="0">
                <a:solidFill>
                  <a:srgbClr val="000000"/>
                </a:solidFill>
              </a:rPr>
              <a:t>этап– </a:t>
            </a:r>
            <a:r>
              <a:rPr lang="ru-RU" sz="1020" b="1" kern="0" dirty="0" smtClean="0">
                <a:solidFill>
                  <a:srgbClr val="000000"/>
                </a:solidFill>
              </a:rPr>
              <a:t>5-45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3613150" y="3795713"/>
            <a:ext cx="1409700" cy="24929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020" i="1" kern="0" dirty="0" err="1" smtClean="0">
                <a:solidFill>
                  <a:srgbClr val="000000"/>
                </a:solidFill>
                <a:latin typeface="+mn-lt"/>
              </a:rPr>
              <a:t>Зав.столвой</a:t>
            </a:r>
            <a:endParaRPr lang="ru-RU" sz="1020" i="1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3" name="Rectangle 63"/>
          <p:cNvSpPr txBox="1"/>
          <p:nvPr/>
        </p:nvSpPr>
        <p:spPr>
          <a:xfrm>
            <a:off x="279645" y="1984572"/>
            <a:ext cx="13636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столовой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95" name="Шестиугольник 96"/>
          <p:cNvSpPr>
            <a:spLocks/>
          </p:cNvSpPr>
          <p:nvPr/>
        </p:nvSpPr>
        <p:spPr>
          <a:xfrm>
            <a:off x="247650" y="5319713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96" name="Шестиугольник 96"/>
          <p:cNvSpPr>
            <a:spLocks/>
          </p:cNvSpPr>
          <p:nvPr/>
        </p:nvSpPr>
        <p:spPr>
          <a:xfrm>
            <a:off x="1920875" y="5319713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97" name="Шестиугольник 96"/>
          <p:cNvSpPr>
            <a:spLocks/>
          </p:cNvSpPr>
          <p:nvPr/>
        </p:nvSpPr>
        <p:spPr>
          <a:xfrm>
            <a:off x="3644900" y="5319713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 smtClean="0">
                <a:solidFill>
                  <a:srgbClr val="000000"/>
                </a:solidFill>
                <a:latin typeface="Arial"/>
              </a:rPr>
              <a:t>Нет </a:t>
            </a:r>
            <a:endParaRPr lang="ru-RU" sz="918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10-конечная звезда 97"/>
          <p:cNvSpPr/>
          <p:nvPr>
            <p:custDataLst>
              <p:tags r:id="rId9"/>
            </p:custDataLst>
          </p:nvPr>
        </p:nvSpPr>
        <p:spPr>
          <a:xfrm>
            <a:off x="5365750" y="4702175"/>
            <a:ext cx="433388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99" name="10-конечная звезда 98"/>
          <p:cNvSpPr/>
          <p:nvPr>
            <p:custDataLst>
              <p:tags r:id="rId10"/>
            </p:custDataLst>
          </p:nvPr>
        </p:nvSpPr>
        <p:spPr>
          <a:xfrm>
            <a:off x="5362575" y="4986338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5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92165" y="3195171"/>
            <a:ext cx="451143" cy="25605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747728" y="3841750"/>
            <a:ext cx="260728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 </a:t>
            </a:r>
            <a:r>
              <a:rPr lang="ru-RU" sz="900" dirty="0"/>
              <a:t>Отсутствие в колледже или занятость  заведующего отделением</a:t>
            </a:r>
          </a:p>
          <a:p>
            <a:r>
              <a:rPr lang="ru-RU" sz="900" dirty="0" smtClean="0"/>
              <a:t>Отсутствие </a:t>
            </a:r>
            <a:r>
              <a:rPr lang="ru-RU" sz="900" dirty="0"/>
              <a:t>в колледже или занятость классного руководителя</a:t>
            </a:r>
          </a:p>
          <a:p>
            <a:r>
              <a:rPr lang="ru-RU" sz="900" dirty="0" smtClean="0"/>
              <a:t>Отсутствие </a:t>
            </a:r>
            <a:r>
              <a:rPr lang="ru-RU" sz="900" dirty="0"/>
              <a:t>старосты группы в </a:t>
            </a:r>
            <a:r>
              <a:rPr lang="ru-RU" sz="900" dirty="0" smtClean="0"/>
              <a:t>колледже</a:t>
            </a:r>
          </a:p>
          <a:p>
            <a:endParaRPr lang="ru-RU" sz="900" dirty="0"/>
          </a:p>
          <a:p>
            <a:r>
              <a:rPr lang="ru-RU" sz="900" dirty="0" smtClean="0"/>
              <a:t>Выбор </a:t>
            </a:r>
            <a:r>
              <a:rPr lang="ru-RU" sz="900" dirty="0"/>
              <a:t>решения о питании на следующий учебный </a:t>
            </a:r>
            <a:r>
              <a:rPr lang="ru-RU" sz="900" dirty="0" smtClean="0"/>
              <a:t>день</a:t>
            </a:r>
            <a:endParaRPr lang="ru-RU" sz="900" dirty="0"/>
          </a:p>
          <a:p>
            <a:r>
              <a:rPr lang="ru-RU" sz="900" dirty="0" smtClean="0"/>
              <a:t>Неодновременная </a:t>
            </a:r>
            <a:r>
              <a:rPr lang="ru-RU" sz="900" dirty="0"/>
              <a:t>подача информации всеми старостами учебных групп отделения</a:t>
            </a:r>
          </a:p>
          <a:p>
            <a:r>
              <a:rPr lang="ru-RU" sz="900" dirty="0" smtClean="0"/>
              <a:t> </a:t>
            </a:r>
            <a:r>
              <a:rPr lang="ru-RU" sz="900" dirty="0"/>
              <a:t>Еще раз проверяет группы находящиеся на практике на производстве</a:t>
            </a:r>
          </a:p>
          <a:p>
            <a:r>
              <a:rPr lang="ru-RU" sz="900" dirty="0" smtClean="0"/>
              <a:t> </a:t>
            </a:r>
            <a:r>
              <a:rPr lang="ru-RU" sz="900" dirty="0"/>
              <a:t>Территориальная удаленность  (3 учебных корпуса)</a:t>
            </a:r>
          </a:p>
        </p:txBody>
      </p:sp>
      <p:sp>
        <p:nvSpPr>
          <p:cNvPr id="90" name="10-конечная звезда 89"/>
          <p:cNvSpPr/>
          <p:nvPr>
            <p:custDataLst>
              <p:tags r:id="rId11"/>
            </p:custDataLst>
          </p:nvPr>
        </p:nvSpPr>
        <p:spPr>
          <a:xfrm>
            <a:off x="5388584" y="5260975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6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" name="10-конечная звезда 101"/>
          <p:cNvSpPr/>
          <p:nvPr>
            <p:custDataLst>
              <p:tags r:id="rId12"/>
            </p:custDataLst>
          </p:nvPr>
        </p:nvSpPr>
        <p:spPr>
          <a:xfrm>
            <a:off x="5388584" y="5551488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7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5" name="10-конечная звезда 104"/>
          <p:cNvSpPr/>
          <p:nvPr>
            <p:custDataLst>
              <p:tags r:id="rId13"/>
            </p:custDataLst>
          </p:nvPr>
        </p:nvSpPr>
        <p:spPr>
          <a:xfrm>
            <a:off x="2431256" y="5271295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7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6" name="10-конечная звезда 105"/>
          <p:cNvSpPr/>
          <p:nvPr>
            <p:custDataLst>
              <p:tags r:id="rId14"/>
            </p:custDataLst>
          </p:nvPr>
        </p:nvSpPr>
        <p:spPr>
          <a:xfrm>
            <a:off x="2921000" y="5271295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7" name="10-конечная звезда 106"/>
          <p:cNvSpPr/>
          <p:nvPr>
            <p:custDataLst>
              <p:tags r:id="rId15"/>
            </p:custDataLst>
          </p:nvPr>
        </p:nvSpPr>
        <p:spPr>
          <a:xfrm>
            <a:off x="7991475" y="3113426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8" name="Rectangle 63"/>
          <p:cNvSpPr txBox="1"/>
          <p:nvPr/>
        </p:nvSpPr>
        <p:spPr>
          <a:xfrm>
            <a:off x="7131844" y="1958215"/>
            <a:ext cx="128905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тароста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0194" y="43642"/>
            <a:ext cx="735382" cy="73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412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авнобедренный треугольник 32"/>
          <p:cNvSpPr/>
          <p:nvPr/>
        </p:nvSpPr>
        <p:spPr>
          <a:xfrm>
            <a:off x="1062832" y="1444117"/>
            <a:ext cx="6697662" cy="5283200"/>
          </a:xfrm>
          <a:prstGeom prst="triangle">
            <a:avLst/>
          </a:prstGeom>
          <a:gradFill>
            <a:gsLst>
              <a:gs pos="0">
                <a:srgbClr val="ADE9C0"/>
              </a:gs>
              <a:gs pos="43000">
                <a:srgbClr val="E1F7E8"/>
              </a:gs>
              <a:gs pos="100000">
                <a:srgbClr val="ADE9C0"/>
              </a:gs>
            </a:gsLst>
            <a:lin ang="0" scaled="1"/>
          </a:gra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>
            <a:off x="2309813" y="980728"/>
            <a:ext cx="4176712" cy="3665537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Трапеция 37"/>
          <p:cNvSpPr/>
          <p:nvPr/>
        </p:nvSpPr>
        <p:spPr>
          <a:xfrm>
            <a:off x="2165350" y="2638078"/>
            <a:ext cx="4464050" cy="2087562"/>
          </a:xfrm>
          <a:prstGeom prst="trapezoid">
            <a:avLst>
              <a:gd name="adj" fmla="val 60469"/>
            </a:avLst>
          </a:prstGeom>
          <a:solidFill>
            <a:schemeClr val="accent2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451709" y="5354388"/>
            <a:ext cx="5975350" cy="292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Уровень </a:t>
            </a: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ПОО </a:t>
            </a: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- </a:t>
            </a:r>
            <a:r>
              <a:rPr lang="ru-RU" sz="1300" b="1" kern="0" dirty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7</a:t>
            </a:r>
            <a:r>
              <a:rPr lang="ru-RU" sz="1300" b="1" kern="0" dirty="0" smtClean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 проблем</a:t>
            </a:r>
            <a:endParaRPr lang="en-US" sz="1300" b="1" kern="0" dirty="0"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497138" y="3528665"/>
            <a:ext cx="38735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Региональный уровень </a:t>
            </a:r>
            <a:endParaRPr lang="en-US" sz="1300" b="1" kern="0" dirty="0">
              <a:ln>
                <a:solidFill>
                  <a:schemeClr val="accent2"/>
                </a:solidFill>
              </a:ln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67088" y="1994520"/>
            <a:ext cx="2089150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Федеральный</a:t>
            </a:r>
          </a:p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 уровень -</a:t>
            </a:r>
          </a:p>
          <a:p>
            <a:pPr algn="ctr" eaLnBrk="1" hangingPunct="1">
              <a:defRPr/>
            </a:pPr>
            <a:endParaRPr lang="en-US" sz="1300" b="1" kern="0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cs typeface="Arial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490663" y="4832003"/>
            <a:ext cx="2879725" cy="49053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39750" y="5657503"/>
            <a:ext cx="2736850" cy="6778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6843" y="5682455"/>
            <a:ext cx="2775397" cy="15491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Отсутствие </a:t>
            </a:r>
            <a:r>
              <a:rPr lang="ru-RU" sz="900" dirty="0">
                <a:solidFill>
                  <a:prstClr val="black"/>
                </a:solidFill>
              </a:rPr>
              <a:t>старосты группы в колледже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800600" y="4708178"/>
            <a:ext cx="2743200" cy="7159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hangingPunct="1">
              <a:defRPr/>
            </a:pPr>
            <a:endParaRPr lang="ru-RU" sz="1100" b="1" dirty="0">
              <a:latin typeface="Arial" charset="0"/>
              <a:cs typeface="Arial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1258352" y="180033"/>
            <a:ext cx="6537647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ирамида </a:t>
            </a:r>
            <a:r>
              <a:rPr lang="ru-RU" sz="1600" b="1" dirty="0" smtClean="0">
                <a:solidFill>
                  <a:schemeClr val="accent1"/>
                </a:solidFill>
              </a:rPr>
              <a:t>проблем 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chemeClr val="accent1"/>
                </a:solidFill>
              </a:rPr>
              <a:t>процесса </a:t>
            </a:r>
            <a:r>
              <a:rPr lang="ru-RU" sz="1600" b="1" dirty="0">
                <a:solidFill>
                  <a:schemeClr val="accent1"/>
                </a:solidFill>
              </a:rPr>
              <a:t>«Запись обучающихся бюджетных групп на комплексное питание в столовой колледжа»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477963" y="4811365"/>
            <a:ext cx="2901950" cy="5111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835994" y="559764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4793855" y="4888775"/>
            <a:ext cx="2760663" cy="3683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Территориальная </a:t>
            </a:r>
            <a:r>
              <a:rPr lang="ru-RU" sz="900" dirty="0">
                <a:solidFill>
                  <a:prstClr val="black"/>
                </a:solidFill>
              </a:rPr>
              <a:t>удаленность  (3 учебных корпуса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538162" y="5416226"/>
            <a:ext cx="2716212" cy="44905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>
                <a:solidFill>
                  <a:prstClr val="black"/>
                </a:solidFill>
              </a:rPr>
              <a:t>Неодновременная подача информации всеми старостами учебных групп отделения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36" name="Пятно 1 35"/>
          <p:cNvSpPr/>
          <p:nvPr/>
        </p:nvSpPr>
        <p:spPr>
          <a:xfrm>
            <a:off x="1862138" y="4553050"/>
            <a:ext cx="447675" cy="431800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ятно 1 40"/>
          <p:cNvSpPr/>
          <p:nvPr/>
        </p:nvSpPr>
        <p:spPr>
          <a:xfrm>
            <a:off x="6413500" y="135061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6516688" y="1411436"/>
            <a:ext cx="2887662" cy="433388"/>
          </a:xfrm>
          <a:prstGeom prst="rect">
            <a:avLst/>
          </a:prstGeom>
          <a:noFill/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82800" bIns="1080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Проблемы, которые могут остаться нерешенными</a:t>
            </a:r>
            <a:endParaRPr lang="ru-RU" sz="1100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/>
          </a:p>
        </p:txBody>
      </p:sp>
      <p:sp>
        <p:nvSpPr>
          <p:cNvPr id="6" name="Прямоугольник 5"/>
          <p:cNvSpPr/>
          <p:nvPr/>
        </p:nvSpPr>
        <p:spPr>
          <a:xfrm>
            <a:off x="1424704" y="4905051"/>
            <a:ext cx="294824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900" dirty="0">
                <a:solidFill>
                  <a:prstClr val="black"/>
                </a:solidFill>
              </a:rPr>
              <a:t>Выбор решения о питании на следующий учебный день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731837" y="6113652"/>
            <a:ext cx="2760663" cy="345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dirty="0">
                <a:solidFill>
                  <a:prstClr val="black"/>
                </a:solidFill>
              </a:rPr>
              <a:t>Еще раз проверяет группы находящиеся на практике на </a:t>
            </a:r>
            <a:r>
              <a:rPr lang="ru-RU" sz="900" dirty="0" smtClean="0">
                <a:solidFill>
                  <a:prstClr val="black"/>
                </a:solidFill>
              </a:rPr>
              <a:t>производстве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861594" y="5845001"/>
            <a:ext cx="3898900" cy="50165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>
                <a:solidFill>
                  <a:prstClr val="black"/>
                </a:solidFill>
              </a:rPr>
              <a:t>Отсутствие в колледже или занятость  заведующего </a:t>
            </a:r>
            <a:r>
              <a:rPr lang="ru-RU" sz="900" dirty="0" smtClean="0">
                <a:solidFill>
                  <a:prstClr val="black"/>
                </a:solidFill>
              </a:rPr>
              <a:t>отделением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61594" y="6282645"/>
            <a:ext cx="3898900" cy="26000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endParaRPr lang="ru-RU" sz="900" dirty="0">
              <a:solidFill>
                <a:prstClr val="black"/>
              </a:solidFill>
            </a:endParaRPr>
          </a:p>
          <a:p>
            <a:pPr lvl="0"/>
            <a:r>
              <a:rPr lang="ru-RU" sz="900" dirty="0">
                <a:solidFill>
                  <a:prstClr val="black"/>
                </a:solidFill>
              </a:rPr>
              <a:t>Отсутствие в колледже или занятость классного </a:t>
            </a:r>
            <a:r>
              <a:rPr lang="ru-RU" sz="900" dirty="0" smtClean="0">
                <a:solidFill>
                  <a:prstClr val="black"/>
                </a:solidFill>
              </a:rPr>
              <a:t>руководителя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823495" y="5987267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827376" y="634665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325" y="108464"/>
            <a:ext cx="876519" cy="872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19672" y="65113"/>
            <a:ext cx="7280176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1600" b="1" dirty="0">
                <a:solidFill>
                  <a:srgbClr val="C00000"/>
                </a:solidFill>
              </a:rPr>
              <a:t>«Запись обучающихся бюджетных групп на комплексное питание в столовой колледжа»</a:t>
            </a: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228184" y="913297"/>
            <a:ext cx="2747541" cy="27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</a:t>
            </a:r>
            <a:r>
              <a:rPr lang="ru-RU" altLang="ru-RU" sz="1400" b="1" dirty="0" smtClean="0">
                <a:solidFill>
                  <a:schemeClr val="tx2"/>
                </a:solidFill>
              </a:rPr>
              <a:t> времени, мин.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926307" y="929805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139952" y="912292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-9525" y="2742474"/>
            <a:ext cx="3197226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>
                <a:latin typeface="+mj-lt"/>
              </a:rPr>
              <a:t>Отсутствие в колледже или занятость  </a:t>
            </a:r>
            <a:endParaRPr lang="en-US" altLang="ru-RU" sz="1200" b="1" dirty="0" smtClean="0">
              <a:latin typeface="+mj-lt"/>
            </a:endParaRPr>
          </a:p>
          <a:p>
            <a:pPr algn="ctr">
              <a:lnSpc>
                <a:spcPct val="80000"/>
              </a:lnSpc>
            </a:pPr>
            <a:r>
              <a:rPr lang="ru-RU" altLang="ru-RU" sz="1200" b="1" dirty="0" smtClean="0">
                <a:latin typeface="+mj-lt"/>
              </a:rPr>
              <a:t>заведующего </a:t>
            </a:r>
            <a:r>
              <a:rPr lang="ru-RU" altLang="ru-RU" sz="1200" b="1" dirty="0">
                <a:latin typeface="+mj-lt"/>
              </a:rPr>
              <a:t>отделением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92245" y="2600533"/>
            <a:ext cx="2944813" cy="590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000" b="1" dirty="0">
                <a:latin typeface="+mj-lt"/>
              </a:rPr>
              <a:t>Запись всех обучающихся самостоятельно через приложение или терминал.</a:t>
            </a:r>
          </a:p>
          <a:p>
            <a:pPr algn="ctr">
              <a:lnSpc>
                <a:spcPct val="80000"/>
              </a:lnSpc>
            </a:pPr>
            <a:r>
              <a:rPr lang="ru-RU" altLang="ru-RU" sz="1000" b="1" dirty="0">
                <a:latin typeface="+mj-lt"/>
              </a:rPr>
              <a:t>Заведующий отделением только контролирует (онлайн)  полноту </a:t>
            </a:r>
            <a:r>
              <a:rPr lang="ru-RU" altLang="ru-RU" sz="1000" b="1" dirty="0" err="1">
                <a:latin typeface="+mj-lt"/>
              </a:rPr>
              <a:t>сформированности</a:t>
            </a:r>
            <a:r>
              <a:rPr lang="ru-RU" altLang="ru-RU" sz="1000" b="1" dirty="0">
                <a:latin typeface="+mj-lt"/>
              </a:rPr>
              <a:t> заявки</a:t>
            </a: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96225" y="2801505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20-3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9850" y="261276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482975" y="285080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04025" y="285080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179388" y="3517711"/>
            <a:ext cx="3168650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100" b="1" dirty="0">
                <a:latin typeface="+mj-lt"/>
              </a:rPr>
              <a:t>Неодновременная подача информации всеми старостами учебных групп отделения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58406" y="3502891"/>
            <a:ext cx="2944813" cy="365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Запись всех обучающихся самостоятельно через приложение или терминал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896225" y="3557240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-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5725" y="3439765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482975" y="36064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04025" y="36064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3662784" y="4291742"/>
            <a:ext cx="3186552" cy="368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100" b="1" dirty="0">
                <a:latin typeface="+mj-lt"/>
              </a:rPr>
              <a:t>Разработка индивидуальной электронной записи </a:t>
            </a:r>
            <a:r>
              <a:rPr lang="ru-RU" altLang="ru-RU" sz="1100" b="1" dirty="0" smtClean="0">
                <a:latin typeface="+mj-lt"/>
              </a:rPr>
              <a:t>обучающегося которую можно отменить</a:t>
            </a:r>
            <a:endParaRPr lang="ru-RU" altLang="ru-RU" sz="1100" b="1" dirty="0">
              <a:latin typeface="+mj-lt"/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18449" y="4365104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7950" y="4197003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05200" y="4363690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26250" y="4363690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01613" y="5049490"/>
            <a:ext cx="3281362" cy="393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>
                <a:latin typeface="+mj-lt"/>
              </a:rPr>
              <a:t>Еще раз проверяет группы находящиеся на практике на </a:t>
            </a:r>
            <a:r>
              <a:rPr lang="ru-RU" altLang="ru-RU" sz="1200" b="1" dirty="0" smtClean="0">
                <a:latin typeface="+mj-lt"/>
              </a:rPr>
              <a:t>производстве</a:t>
            </a:r>
            <a:endParaRPr lang="ru-RU" altLang="ru-RU" sz="1200" b="1" dirty="0">
              <a:latin typeface="+mj-lt"/>
            </a:endParaRP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10000" y="5015360"/>
            <a:ext cx="2944813" cy="393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>
                <a:latin typeface="+mj-lt"/>
              </a:rPr>
              <a:t>Разработка индивидуальной электронной записи обучающегося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18449" y="5080766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-1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07950" y="495582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05200" y="51177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26250" y="51177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07950" y="1811712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85725" y="5708303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" y="1182340"/>
            <a:ext cx="8931414" cy="65472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63662" y="1302243"/>
            <a:ext cx="30240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Отсутствие в колледже или </a:t>
            </a:r>
            <a:r>
              <a:rPr lang="ru-RU" sz="1200" b="1" dirty="0" smtClean="0"/>
              <a:t>занятость</a:t>
            </a:r>
          </a:p>
          <a:p>
            <a:r>
              <a:rPr lang="ru-RU" sz="1200" b="1" dirty="0" smtClean="0"/>
              <a:t> </a:t>
            </a:r>
            <a:r>
              <a:rPr lang="ru-RU" sz="1200" b="1" dirty="0"/>
              <a:t>классного руководителя</a:t>
            </a:r>
          </a:p>
        </p:txBody>
      </p:sp>
      <p:sp>
        <p:nvSpPr>
          <p:cNvPr id="37" name="Стрелка: вправо 3"/>
          <p:cNvSpPr/>
          <p:nvPr/>
        </p:nvSpPr>
        <p:spPr>
          <a:xfrm>
            <a:off x="3411538" y="135324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трелка: вправо 3"/>
          <p:cNvSpPr/>
          <p:nvPr/>
        </p:nvSpPr>
        <p:spPr>
          <a:xfrm>
            <a:off x="3473450" y="211432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6834188" y="141562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6835775" y="208959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810000" y="1203352"/>
            <a:ext cx="301575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b="1" dirty="0" smtClean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Запись всех обучающихся самостоятельно через приложение или терминал.</a:t>
            </a:r>
          </a:p>
          <a:p>
            <a:pPr lvl="0"/>
            <a:r>
              <a:rPr lang="ru-RU" sz="1100" b="1" dirty="0" smtClean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Автоматическое напоминание на телефоне</a:t>
            </a:r>
            <a:endParaRPr lang="ru-RU" sz="1100" b="1" dirty="0">
              <a:solidFill>
                <a:prstClr val="black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7896225" y="1340101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0-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7896224" y="2115804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-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388" y="2028659"/>
            <a:ext cx="2901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Отсутствие старосты группы в </a:t>
            </a:r>
            <a:r>
              <a:rPr lang="ru-RU" sz="1200" b="1" dirty="0" smtClean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колледже</a:t>
            </a:r>
            <a:endParaRPr lang="ru-RU" sz="1200" b="1" dirty="0">
              <a:solidFill>
                <a:prstClr val="black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24717" y="1953143"/>
            <a:ext cx="30338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+mj-lt"/>
              </a:rPr>
              <a:t>Разработка индивидуальной электронной</a:t>
            </a:r>
          </a:p>
          <a:p>
            <a:r>
              <a:rPr lang="ru-RU" sz="1200" b="1" dirty="0" smtClean="0">
                <a:latin typeface="+mj-lt"/>
              </a:rPr>
              <a:t> записи обучающегося</a:t>
            </a:r>
            <a:endParaRPr lang="ru-RU" sz="1200" b="1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18724" y="4285663"/>
            <a:ext cx="2778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Выбор решения о питании </a:t>
            </a:r>
            <a:endParaRPr lang="ru-RU" sz="1200" b="1" dirty="0" smtClean="0"/>
          </a:p>
          <a:p>
            <a:r>
              <a:rPr lang="ru-RU" sz="1200" b="1" dirty="0" smtClean="0"/>
              <a:t>на </a:t>
            </a:r>
            <a:r>
              <a:rPr lang="ru-RU" sz="1200" b="1" dirty="0"/>
              <a:t>следующий учебный ден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5119" y="5701606"/>
            <a:ext cx="31678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Территориальная удаленность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 (3 учебных корпуса)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0" name="Стрелка: вправо 3"/>
          <p:cNvSpPr/>
          <p:nvPr/>
        </p:nvSpPr>
        <p:spPr>
          <a:xfrm>
            <a:off x="3471862" y="5957070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Стрелка: вправо 3"/>
          <p:cNvSpPr/>
          <p:nvPr/>
        </p:nvSpPr>
        <p:spPr>
          <a:xfrm>
            <a:off x="6834187" y="593243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3837789" y="5775698"/>
            <a:ext cx="33422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Запись всех обучающихся самостоятельно через приложение или терминал</a:t>
            </a:r>
          </a:p>
        </p:txBody>
      </p:sp>
      <p:sp>
        <p:nvSpPr>
          <p:cNvPr id="55" name="TextBox 41"/>
          <p:cNvSpPr txBox="1">
            <a:spLocks noChangeArrowheads="1"/>
          </p:cNvSpPr>
          <p:nvPr/>
        </p:nvSpPr>
        <p:spPr bwMode="auto">
          <a:xfrm>
            <a:off x="7918449" y="583642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5-2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028" y="105180"/>
            <a:ext cx="819878" cy="815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24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227"/>
          <p:cNvSpPr/>
          <p:nvPr/>
        </p:nvSpPr>
        <p:spPr>
          <a:xfrm>
            <a:off x="2177207" y="2232876"/>
            <a:ext cx="1366837" cy="15954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9394" y="1207719"/>
            <a:ext cx="8648700" cy="5588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целевого 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состояния процесса 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400" dirty="0">
                <a:solidFill>
                  <a:srgbClr val="00295C">
                    <a:lumMod val="90000"/>
                    <a:lumOff val="10000"/>
                  </a:srgbClr>
                </a:solidFill>
              </a:rPr>
              <a:t>Запись обучающихся бюджетных групп на комплексное питание в столовой колледжа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</a:t>
            </a: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86021" name="Group 228"/>
          <p:cNvGrpSpPr>
            <a:grpSpLocks/>
          </p:cNvGrpSpPr>
          <p:nvPr/>
        </p:nvGrpSpPr>
        <p:grpSpPr bwMode="auto">
          <a:xfrm>
            <a:off x="379413" y="6307410"/>
            <a:ext cx="1709737" cy="361950"/>
            <a:chOff x="125411" y="977723"/>
            <a:chExt cx="1710805" cy="361903"/>
          </a:xfrm>
        </p:grpSpPr>
        <p:sp>
          <p:nvSpPr>
            <p:cNvPr id="43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63"/>
            <p:cNvSpPr txBox="1">
              <a:spLocks/>
            </p:cNvSpPr>
            <p:nvPr/>
          </p:nvSpPr>
          <p:spPr>
            <a:xfrm>
              <a:off x="478056" y="977723"/>
              <a:ext cx="1097647" cy="138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Продолжительност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63"/>
            <p:cNvSpPr txBox="1">
              <a:spLocks/>
            </p:cNvSpPr>
            <p:nvPr/>
          </p:nvSpPr>
          <p:spPr>
            <a:xfrm>
              <a:off x="478056" y="1088834"/>
              <a:ext cx="708467" cy="139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Исполнител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63"/>
            <p:cNvSpPr txBox="1">
              <a:spLocks/>
            </p:cNvSpPr>
            <p:nvPr/>
          </p:nvSpPr>
          <p:spPr>
            <a:xfrm>
              <a:off x="478056" y="1201531"/>
              <a:ext cx="1358160" cy="138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Описание шага процесса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Овал 63"/>
          <p:cNvSpPr/>
          <p:nvPr/>
        </p:nvSpPr>
        <p:spPr>
          <a:xfrm>
            <a:off x="2555776" y="6344939"/>
            <a:ext cx="252412" cy="252413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900" b="1" kern="0" dirty="0">
                <a:solidFill>
                  <a:srgbClr val="FFFFFF"/>
                </a:solidFill>
                <a:latin typeface="Arial"/>
              </a:rPr>
              <a:t>№</a:t>
            </a:r>
          </a:p>
        </p:txBody>
      </p:sp>
      <p:sp>
        <p:nvSpPr>
          <p:cNvPr id="65" name="Rectangle 63"/>
          <p:cNvSpPr txBox="1"/>
          <p:nvPr/>
        </p:nvSpPr>
        <p:spPr>
          <a:xfrm>
            <a:off x="2915816" y="6381328"/>
            <a:ext cx="1244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редлагаемые решения</a:t>
            </a:r>
          </a:p>
        </p:txBody>
      </p:sp>
      <p:sp>
        <p:nvSpPr>
          <p:cNvPr id="66" name="Шестиугольник 84"/>
          <p:cNvSpPr/>
          <p:nvPr/>
        </p:nvSpPr>
        <p:spPr>
          <a:xfrm>
            <a:off x="4303713" y="6386785"/>
            <a:ext cx="500062" cy="228600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4892675" y="6370910"/>
            <a:ext cx="6223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Срок по регламенту</a:t>
            </a:r>
          </a:p>
        </p:txBody>
      </p:sp>
      <p:sp>
        <p:nvSpPr>
          <p:cNvPr id="74" name="Rectangle 41"/>
          <p:cNvSpPr txBox="1"/>
          <p:nvPr/>
        </p:nvSpPr>
        <p:spPr>
          <a:xfrm>
            <a:off x="5704060" y="5957443"/>
            <a:ext cx="25416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ИТОГО – ВПП 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ru-RU" sz="1000" b="1" kern="0" dirty="0" smtClean="0">
                <a:solidFill>
                  <a:srgbClr val="000000"/>
                </a:solidFill>
              </a:rPr>
              <a:t> от 15 до  20 минут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cxnSp>
        <p:nvCxnSpPr>
          <p:cNvPr id="86038" name="Прямая соединительная линия 79"/>
          <p:cNvCxnSpPr>
            <a:cxnSpLocks noChangeShapeType="1"/>
          </p:cNvCxnSpPr>
          <p:nvPr/>
        </p:nvCxnSpPr>
        <p:spPr bwMode="auto">
          <a:xfrm flipV="1">
            <a:off x="165100" y="6169297"/>
            <a:ext cx="8602662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120" name="Rectangle 227"/>
          <p:cNvSpPr/>
          <p:nvPr/>
        </p:nvSpPr>
        <p:spPr>
          <a:xfrm>
            <a:off x="355083" y="2212239"/>
            <a:ext cx="1366838" cy="16367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6" name="Rectangle 223"/>
          <p:cNvSpPr/>
          <p:nvPr/>
        </p:nvSpPr>
        <p:spPr>
          <a:xfrm>
            <a:off x="367268" y="3030595"/>
            <a:ext cx="1366838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Регистрируется на питание на следующий учебный день</a:t>
            </a:r>
          </a:p>
        </p:txBody>
      </p:sp>
      <p:sp>
        <p:nvSpPr>
          <p:cNvPr id="127" name="Rectangle 41"/>
          <p:cNvSpPr txBox="1">
            <a:spLocks/>
          </p:cNvSpPr>
          <p:nvPr/>
        </p:nvSpPr>
        <p:spPr>
          <a:xfrm>
            <a:off x="356671" y="2231982"/>
            <a:ext cx="1363663" cy="36988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>
                <a:solidFill>
                  <a:srgbClr val="000000"/>
                </a:solidFill>
              </a:rPr>
              <a:t>Вход 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процесса – 3-5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28" name="Rectangle 63"/>
          <p:cNvSpPr txBox="1"/>
          <p:nvPr/>
        </p:nvSpPr>
        <p:spPr>
          <a:xfrm>
            <a:off x="2213322" y="2630788"/>
            <a:ext cx="12398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отделением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9" name="Rectangle 229"/>
          <p:cNvSpPr/>
          <p:nvPr/>
        </p:nvSpPr>
        <p:spPr>
          <a:xfrm>
            <a:off x="2164159" y="2999304"/>
            <a:ext cx="1368425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Контролирует регистрацию учебной группы</a:t>
            </a:r>
          </a:p>
          <a:p>
            <a:pPr>
              <a:defRPr/>
            </a:pP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Right Arrow 230"/>
          <p:cNvSpPr>
            <a:spLocks/>
          </p:cNvSpPr>
          <p:nvPr/>
        </p:nvSpPr>
        <p:spPr>
          <a:xfrm>
            <a:off x="3721838" y="2922680"/>
            <a:ext cx="268287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Rectangle 41"/>
          <p:cNvSpPr txBox="1">
            <a:spLocks/>
          </p:cNvSpPr>
          <p:nvPr/>
        </p:nvSpPr>
        <p:spPr>
          <a:xfrm>
            <a:off x="2177207" y="2243145"/>
            <a:ext cx="1363662" cy="35083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en-US" sz="1020" b="1" kern="0" dirty="0">
                <a:solidFill>
                  <a:srgbClr val="000000"/>
                </a:solidFill>
              </a:rPr>
              <a:t>1 </a:t>
            </a:r>
            <a:r>
              <a:rPr lang="ru-RU" sz="1020" b="1" kern="0" dirty="0">
                <a:solidFill>
                  <a:srgbClr val="000000"/>
                </a:solidFill>
              </a:rPr>
              <a:t>этап – </a:t>
            </a:r>
            <a:r>
              <a:rPr lang="ru-RU" sz="1020" b="1" kern="0" dirty="0" smtClean="0">
                <a:solidFill>
                  <a:srgbClr val="000000"/>
                </a:solidFill>
              </a:rPr>
              <a:t>5-7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2" name="Rectangle 232"/>
          <p:cNvSpPr/>
          <p:nvPr/>
        </p:nvSpPr>
        <p:spPr>
          <a:xfrm>
            <a:off x="4208462" y="2236804"/>
            <a:ext cx="1344613" cy="15668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" name="Rectangle 63"/>
          <p:cNvSpPr txBox="1"/>
          <p:nvPr/>
        </p:nvSpPr>
        <p:spPr>
          <a:xfrm>
            <a:off x="4291012" y="2616029"/>
            <a:ext cx="12620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столовой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4" name="Rectangle 234"/>
          <p:cNvSpPr/>
          <p:nvPr/>
        </p:nvSpPr>
        <p:spPr>
          <a:xfrm>
            <a:off x="4225131" y="3022232"/>
            <a:ext cx="1335088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получает общее количество зарегистрированных на питание на следующий день</a:t>
            </a:r>
          </a:p>
        </p:txBody>
      </p:sp>
      <p:sp>
        <p:nvSpPr>
          <p:cNvPr id="135" name="Right Arrow 235"/>
          <p:cNvSpPr>
            <a:spLocks/>
          </p:cNvSpPr>
          <p:nvPr/>
        </p:nvSpPr>
        <p:spPr>
          <a:xfrm>
            <a:off x="5939997" y="2878957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Rectangle 41"/>
          <p:cNvSpPr txBox="1">
            <a:spLocks/>
          </p:cNvSpPr>
          <p:nvPr/>
        </p:nvSpPr>
        <p:spPr>
          <a:xfrm>
            <a:off x="4211637" y="2230445"/>
            <a:ext cx="1341438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2 этап – </a:t>
            </a:r>
            <a:r>
              <a:rPr lang="ru-RU" sz="1020" b="1" kern="0" dirty="0" smtClean="0">
                <a:solidFill>
                  <a:srgbClr val="000000"/>
                </a:solidFill>
              </a:rPr>
              <a:t>2-3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7" name="Rectangle 237"/>
          <p:cNvSpPr/>
          <p:nvPr/>
        </p:nvSpPr>
        <p:spPr>
          <a:xfrm>
            <a:off x="6611144" y="2251101"/>
            <a:ext cx="1344612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Rectangle 63"/>
          <p:cNvSpPr txBox="1"/>
          <p:nvPr/>
        </p:nvSpPr>
        <p:spPr>
          <a:xfrm>
            <a:off x="6645374" y="2665929"/>
            <a:ext cx="12874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Заведующий столовой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9" name="Rectangle 239"/>
          <p:cNvSpPr/>
          <p:nvPr/>
        </p:nvSpPr>
        <p:spPr>
          <a:xfrm>
            <a:off x="6611144" y="3030595"/>
            <a:ext cx="1357312" cy="8112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>
                <a:solidFill>
                  <a:srgbClr val="000000"/>
                </a:solidFill>
                <a:latin typeface="Arial"/>
              </a:rPr>
              <a:t>Передает данные о количестве питающихся </a:t>
            </a:r>
          </a:p>
        </p:txBody>
      </p:sp>
      <p:sp>
        <p:nvSpPr>
          <p:cNvPr id="141" name="Rectangle 41"/>
          <p:cNvSpPr txBox="1">
            <a:spLocks/>
          </p:cNvSpPr>
          <p:nvPr/>
        </p:nvSpPr>
        <p:spPr>
          <a:xfrm>
            <a:off x="6611144" y="2230445"/>
            <a:ext cx="1344612" cy="36353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3 этап– 5</a:t>
            </a:r>
            <a:r>
              <a:rPr lang="ru-RU" sz="1020" b="1" kern="0" dirty="0" smtClean="0">
                <a:solidFill>
                  <a:srgbClr val="000000"/>
                </a:solidFill>
              </a:rPr>
              <a:t>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49" name="Right Arrow 225"/>
          <p:cNvSpPr>
            <a:spLocks/>
          </p:cNvSpPr>
          <p:nvPr/>
        </p:nvSpPr>
        <p:spPr>
          <a:xfrm>
            <a:off x="1793900" y="2907434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Rectangle 63"/>
          <p:cNvSpPr txBox="1"/>
          <p:nvPr/>
        </p:nvSpPr>
        <p:spPr>
          <a:xfrm>
            <a:off x="394249" y="2717552"/>
            <a:ext cx="1363662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Обучающийся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grpSp>
        <p:nvGrpSpPr>
          <p:cNvPr id="86067" name="Group 213"/>
          <p:cNvGrpSpPr>
            <a:grpSpLocks/>
          </p:cNvGrpSpPr>
          <p:nvPr/>
        </p:nvGrpSpPr>
        <p:grpSpPr bwMode="auto">
          <a:xfrm>
            <a:off x="2257425" y="1255713"/>
            <a:ext cx="4108450" cy="230187"/>
            <a:chOff x="176211" y="1409962"/>
            <a:chExt cx="8609536" cy="225413"/>
          </a:xfrm>
        </p:grpSpPr>
        <p:cxnSp>
          <p:nvCxnSpPr>
            <p:cNvPr id="161" name="Straight Connector 216"/>
            <p:cNvCxnSpPr/>
            <p:nvPr/>
          </p:nvCxnSpPr>
          <p:spPr>
            <a:xfrm>
              <a:off x="196027" y="1397335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162" name="Straight Connector 217"/>
            <p:cNvCxnSpPr/>
            <p:nvPr/>
          </p:nvCxnSpPr>
          <p:spPr>
            <a:xfrm>
              <a:off x="176211" y="1624372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6</a:t>
            </a:fld>
            <a:endParaRPr lang="ru-RU" sz="140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299" y="95281"/>
            <a:ext cx="886070" cy="88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646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1941289" y="509943"/>
            <a:ext cx="6073775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67027" y="1628800"/>
            <a:ext cx="8636000" cy="4549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00038" y="1714079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18" name="Плюс 17"/>
          <p:cNvSpPr/>
          <p:nvPr/>
        </p:nvSpPr>
        <p:spPr>
          <a:xfrm>
            <a:off x="2819400" y="2577713"/>
            <a:ext cx="330200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Плюс 18"/>
          <p:cNvSpPr/>
          <p:nvPr/>
        </p:nvSpPr>
        <p:spPr>
          <a:xfrm>
            <a:off x="5826125" y="2577713"/>
            <a:ext cx="331788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467544" y="4392444"/>
            <a:ext cx="2098675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Длинную цепочку сбора информации о количестве питающихся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405257" y="4200763"/>
            <a:ext cx="2100263" cy="175432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рганизовали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Электронную регистрацию на питание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Запись всех обучающихся самостоятельно через приложение или терминал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Автоматическое напоминание на </a:t>
            </a:r>
            <a:r>
              <a:rPr lang="ru-RU" sz="1200" dirty="0" smtClean="0">
                <a:solidFill>
                  <a:schemeClr val="accent2"/>
                </a:solidFill>
              </a:rPr>
              <a:t>телефоне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229889" y="4293096"/>
            <a:ext cx="2525712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Сформировалась команда единомышленников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Проводятся регулярные рабочие встречи команды проекта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</a:rPr>
              <a:t>Навыки </a:t>
            </a:r>
            <a:r>
              <a:rPr lang="ru-RU" sz="1200" dirty="0">
                <a:solidFill>
                  <a:schemeClr val="accent2"/>
                </a:solidFill>
              </a:rPr>
              <a:t>владения инструментами бережливого производства приобрели </a:t>
            </a:r>
            <a:r>
              <a:rPr lang="ru-RU" sz="1200" dirty="0" smtClean="0">
                <a:solidFill>
                  <a:schemeClr val="accent2"/>
                </a:solidFill>
              </a:rPr>
              <a:t>4 сотрудника БИК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174" y="2281829"/>
            <a:ext cx="1677928" cy="191294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/>
          <a:srcRect l="37896" t="31594" r="8494" b="3981"/>
          <a:stretch/>
        </p:blipFill>
        <p:spPr>
          <a:xfrm>
            <a:off x="3250548" y="2231155"/>
            <a:ext cx="2409683" cy="163236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8" t="13373" r="27950" b="47636"/>
          <a:stretch/>
        </p:blipFill>
        <p:spPr>
          <a:xfrm>
            <a:off x="6157913" y="2281829"/>
            <a:ext cx="2481110" cy="174205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3489" y="114060"/>
            <a:ext cx="880119" cy="875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89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806845" y="399026"/>
            <a:ext cx="4730333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продолжение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4474" y="1385888"/>
            <a:ext cx="8636000" cy="497046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44474" y="1399675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244474" y="2323643"/>
            <a:ext cx="389547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rgbClr val="002060"/>
                </a:solidFill>
              </a:rPr>
              <a:t>Вручную собирались и проверялись заявки на питание</a:t>
            </a:r>
            <a:endParaRPr lang="ru-RU" sz="1100" dirty="0">
              <a:solidFill>
                <a:srgbClr val="002060"/>
              </a:solidFill>
            </a:endParaRPr>
          </a:p>
        </p:txBody>
      </p:sp>
      <p:sp>
        <p:nvSpPr>
          <p:cNvPr id="72739" name="TextBox 17"/>
          <p:cNvSpPr txBox="1">
            <a:spLocks noChangeArrowheads="1"/>
          </p:cNvSpPr>
          <p:nvPr/>
        </p:nvSpPr>
        <p:spPr bwMode="auto">
          <a:xfrm>
            <a:off x="5172012" y="2321559"/>
            <a:ext cx="340799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rgbClr val="002060"/>
                </a:solidFill>
              </a:rPr>
              <a:t>Индивидуальная электронная регистрация</a:t>
            </a:r>
            <a:endParaRPr lang="ru-RU" sz="11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1256888" y="1788471"/>
            <a:ext cx="18354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940152" y="1791375"/>
            <a:ext cx="13998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92D050"/>
                </a:solidFill>
              </a:rPr>
              <a:t>СТАЛО</a:t>
            </a:r>
            <a:endParaRPr lang="ru-RU" sz="2800" b="1" dirty="0">
              <a:solidFill>
                <a:srgbClr val="92D05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6"/>
          <a:srcRect r="6316"/>
          <a:stretch/>
        </p:blipFill>
        <p:spPr>
          <a:xfrm>
            <a:off x="5788756" y="2583169"/>
            <a:ext cx="1952758" cy="117248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6344" y="3871119"/>
            <a:ext cx="2417119" cy="135962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/>
          <a:srcRect r="60842"/>
          <a:stretch/>
        </p:blipFill>
        <p:spPr>
          <a:xfrm>
            <a:off x="4428231" y="3206498"/>
            <a:ext cx="1256801" cy="143867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652" y="2901428"/>
            <a:ext cx="2276872" cy="17076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935855" y="3921642"/>
            <a:ext cx="2212944" cy="165970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504" y="114887"/>
            <a:ext cx="960775" cy="956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4872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29142"/>
              </p:ext>
            </p:extLst>
          </p:nvPr>
        </p:nvGraphicFramePr>
        <p:xfrm>
          <a:off x="323528" y="2852936"/>
          <a:ext cx="8229600" cy="2677211"/>
        </p:xfrm>
        <a:graphic>
          <a:graphicData uri="http://schemas.openxmlformats.org/drawingml/2006/table">
            <a:tbl>
              <a:tblPr firstRow="1" firstCol="1" bandRow="1"/>
              <a:tblGrid>
                <a:gridCol w="1645920">
                  <a:extLst>
                    <a:ext uri="{9D8B030D-6E8A-4147-A177-3AD203B41FA5}">
                      <a16:colId xmlns:a16="http://schemas.microsoft.com/office/drawing/2014/main" val="1952031341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435529055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73867297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412966141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860057644"/>
                    </a:ext>
                  </a:extLst>
                </a:gridCol>
              </a:tblGrid>
              <a:tr h="17293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А ПРОВЕ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ПРОТЕКАНИЯ ПРОЦЕСС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ХОЖДЕНИЕ (+/-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 РАСХОЖ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0966198"/>
                  </a:ext>
                </a:extLst>
              </a:tr>
              <a:tr h="1729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к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6141420"/>
                  </a:ext>
                </a:extLst>
              </a:tr>
              <a:tr h="463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2.04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-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бой в программе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1508648"/>
                  </a:ext>
                </a:extLst>
              </a:tr>
              <a:tr h="463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04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-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5211741"/>
                  </a:ext>
                </a:extLst>
              </a:tr>
              <a:tr h="463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5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-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минут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6739063"/>
                  </a:ext>
                </a:extLst>
              </a:tr>
              <a:tr h="463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05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-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6852475"/>
                  </a:ext>
                </a:extLst>
              </a:tr>
              <a:tr h="4636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5.202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-26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307374"/>
                  </a:ext>
                </a:extLst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23528" y="908720"/>
            <a:ext cx="7128792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ИЗВОДСТВЕННЫЙ АНАЛИЗ 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а «запись обучающихся бюджетных групп на комплексное питание в столовой колледжа»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2007588"/>
            <a:ext cx="77047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результате реализации проекта длительность процесса</a:t>
            </a:r>
          </a:p>
          <a:p>
            <a:r>
              <a:rPr lang="ru-RU" dirty="0"/>
              <a:t>сократилась на </a:t>
            </a:r>
            <a:r>
              <a:rPr lang="ru-RU" dirty="0" smtClean="0"/>
              <a:t>30 </a:t>
            </a:r>
            <a:r>
              <a:rPr lang="ru-RU" dirty="0"/>
              <a:t>% и составляет от </a:t>
            </a:r>
            <a:r>
              <a:rPr lang="ru-RU" dirty="0" smtClean="0"/>
              <a:t>24 до 26 </a:t>
            </a:r>
            <a:r>
              <a:rPr lang="ru-RU" dirty="0"/>
              <a:t>минут</a:t>
            </a:r>
          </a:p>
        </p:txBody>
      </p:sp>
    </p:spTree>
    <p:extLst>
      <p:ext uri="{BB962C8B-B14F-4D97-AF65-F5344CB8AC3E}">
        <p14:creationId xmlns:p14="http://schemas.microsoft.com/office/powerpoint/2010/main" val="4124245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78</TotalTime>
  <Words>1115</Words>
  <Application>Microsoft Office PowerPoint</Application>
  <PresentationFormat>Экран (4:3)</PresentationFormat>
  <Paragraphs>260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Паспорт проекта  «Оптимизация процесса сбора заявок на питания обучающихся бюджетных групп в ОГАПОУ «Белгородский индустриальный колледж»»</vt:lpstr>
      <vt:lpstr>Команда проекта </vt:lpstr>
      <vt:lpstr>Карта текущего состояния процесса «Запись обучающихся бюджетных групп на комплексное питание в столовой колледжа»</vt:lpstr>
      <vt:lpstr>Презентация PowerPoint</vt:lpstr>
      <vt:lpstr>Анализ проблем процесса «Запись обучающихся бюджетных групп на комплексное питание в столовой колледжа»</vt:lpstr>
      <vt:lpstr>Карта целевого состояния процесса «Запись обучающихся бюджетных групп на комплексное питание в столовой колледжа»</vt:lpstr>
      <vt:lpstr>Достигнутые результаты (было и стало) </vt:lpstr>
      <vt:lpstr>Достигнутые результаты (было и стало) продолжение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Беляева Галина Николаевна</cp:lastModifiedBy>
  <cp:revision>47</cp:revision>
  <cp:lastPrinted>2021-11-19T06:48:40Z</cp:lastPrinted>
  <dcterms:created xsi:type="dcterms:W3CDTF">2018-08-20T14:01:12Z</dcterms:created>
  <dcterms:modified xsi:type="dcterms:W3CDTF">2021-12-02T15:50:33Z</dcterms:modified>
</cp:coreProperties>
</file>